
<file path=[Content_Types].xml><?xml version="1.0" encoding="utf-8"?>
<Types xmlns="http://schemas.openxmlformats.org/package/2006/content-types">
  <Default Extension="xml" ContentType="application/vnd.openxmlformats-package.core-properties+xml"/>
  <Default Extension="jpeg" ContentType="image/jpeg"/>
  <Default Extension="xlsb" ContentType="application/vnd.ms-excel.sheet.binary.macroEnabled.12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rels" ContentType="application/vnd.openxmlformats-package.relationships+xml"/>
  <Override PartName="/ppt/presentation.xml" ContentType="application/vnd.openxmlformats-officedocument.presentationml.presentation.main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authors.xml" ContentType="application/vnd.ms-powerpoint.authors+xml"/>
  <Override PartName="/ppt/slides/slide194.xml" ContentType="application/vnd.openxmlformats-officedocument.presentationml.slide+xml"/>
  <Override PartName="/ppt/tags/tag684.xml" ContentType="application/vnd.openxmlformats-officedocument.presentationml.tags+xml"/>
  <Override PartName="/ppt/tags/tag689.xml" ContentType="application/vnd.openxmlformats-officedocument.presentationml.tags+xml"/>
  <Override PartName="/ppt/tags/tag697.xml" ContentType="application/vnd.openxmlformats-officedocument.presentationml.tags+xml"/>
  <Override PartName="/ppt/tags/tag674.xml" ContentType="application/vnd.openxmlformats-officedocument.presentationml.tags+xml"/>
  <Override PartName="/ppt/tags/tag692.xml" ContentType="application/vnd.openxmlformats-officedocument.presentationml.tags+xml"/>
  <Override PartName="/ppt/charts/chart23.xml" ContentType="application/vnd.openxmlformats-officedocument.drawingml.chart+xml"/>
  <Override PartName="/ppt/tags/tag678.xml" ContentType="application/vnd.openxmlformats-officedocument.presentationml.tags+xml"/>
  <Override PartName="/ppt/tags/tag683.xml" ContentType="application/vnd.openxmlformats-officedocument.presentationml.tags+xml"/>
  <Override PartName="/ppt/tags/tag688.xml" ContentType="application/vnd.openxmlformats-officedocument.presentationml.tags+xml"/>
  <Override PartName="/ppt/tags/tag696.xml" ContentType="application/vnd.openxmlformats-officedocument.presentationml.tags+xml"/>
  <Override PartName="/ppt/tags/tag673.xml" ContentType="application/vnd.openxmlformats-officedocument.presentationml.tags+xml"/>
  <Override PartName="/ppt/tags/tag687.xml" ContentType="application/vnd.openxmlformats-officedocument.presentationml.tags+xml"/>
  <Override PartName="/ppt/tags/tag691.xml" ContentType="application/vnd.openxmlformats-officedocument.presentationml.tags+xml"/>
  <Override PartName="/ppt/tags/tag700.xml" ContentType="application/vnd.openxmlformats-officedocument.presentationml.tags+xml"/>
  <Override PartName="/ppt/tags/tag677.xml" ContentType="application/vnd.openxmlformats-officedocument.presentationml.tags+xml"/>
  <Override PartName="/ppt/tags/tag682.xml" ContentType="application/vnd.openxmlformats-officedocument.presentationml.tags+xml"/>
  <Override PartName="/ppt/tags/tag695.xml" ContentType="application/vnd.openxmlformats-officedocument.presentationml.tags+xml"/>
  <Override PartName="/ppt/tags/tag676.xml" ContentType="application/vnd.openxmlformats-officedocument.presentationml.tags+xml"/>
  <Override PartName="/ppt/tags/tag686.xml" ContentType="application/vnd.openxmlformats-officedocument.presentationml.tags+xml"/>
  <Override PartName="/ppt/tags/tag694.xml" ContentType="application/vnd.openxmlformats-officedocument.presentationml.tags+xml"/>
  <Override PartName="/ppt/tags/tag699.xml" ContentType="application/vnd.openxmlformats-officedocument.presentationml.tags+xml"/>
  <Override PartName="/ppt/tags/tag681.xml" ContentType="application/vnd.openxmlformats-officedocument.presentationml.tags+xml"/>
  <Override PartName="/ppt/tags/tag690.xml" ContentType="application/vnd.openxmlformats-officedocument.presentationml.tags+xml"/>
  <Override PartName="/ppt/notesSlides/notesSlide19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675.xml" ContentType="application/vnd.openxmlformats-officedocument.presentationml.tags+xml"/>
  <Override PartName="/ppt/tags/tag680.xml" ContentType="application/vnd.openxmlformats-officedocument.presentationml.tags+xml"/>
  <Override PartName="/ppt/tags/tag685.xml" ContentType="application/vnd.openxmlformats-officedocument.presentationml.tags+xml"/>
  <Override PartName="/ppt/tags/tag693.xml" ContentType="application/vnd.openxmlformats-officedocument.presentationml.tags+xml"/>
  <Override PartName="/ppt/tags/tag698.xml" ContentType="application/vnd.openxmlformats-officedocument.presentationml.tags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79.xml" ContentType="application/vnd.openxmlformats-officedocument.presentationml.tag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itemProps2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app.xml" ContentType="application/vnd.openxmlformats-officedocument.extended-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/docProps/core.xml" Id="rId3" /><Relationship Type="http://schemas.openxmlformats.org/package/2006/relationships/metadata/thumbnail" Target="/docProps/thumbnail.jpeg" Id="rId2" /><Relationship Type="http://schemas.openxmlformats.org/officeDocument/2006/relationships/officeDocument" Target="/ppt/presentation.xml" Id="rId1" /><Relationship Type="http://schemas.openxmlformats.org/officeDocument/2006/relationships/custom-properties" Target="/docProps/custom.xml" Id="rId5" /><Relationship Type="http://schemas.openxmlformats.org/officeDocument/2006/relationships/extended-properties" Target="/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2" r:id="rId3"/>
  </p:sldMasterIdLst>
  <p:notesMasterIdLst>
    <p:notesMasterId r:id="rId254"/>
  </p:notesMasterIdLst>
  <p:handoutMasterIdLst>
    <p:handoutMasterId r:id="rId255"/>
  </p:handoutMasterIdLst>
  <p:sldIdLst>
    <p:sldId id="2147473120" r:id="rId197"/>
  </p:sldIdLst>
  <p:sldSz cx="12192000" cy="6858000"/>
  <p:notesSz cx="6858000" cy="9144000"/>
  <p:custDataLst>
    <p:tags r:id="rId2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2536"/>
    <a:srgbClr val="C0C0C0"/>
    <a:srgbClr val="FFFFFF"/>
    <a:srgbClr val="EAEAEA"/>
    <a:srgbClr val="777777"/>
    <a:srgbClr val="000000"/>
    <a:srgbClr val="A5A5A5"/>
    <a:srgbClr val="44444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9D4EB-3D9D-4565-8C35-32D62D845C2C}" v="40032" dt="2024-10-23T10:06:55.3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viewProps" Target="/ppt/viewProps.xml" Id="rId258" /><Relationship Type="http://schemas.openxmlformats.org/officeDocument/2006/relationships/theme" Target="/ppt/theme/theme1.xml" Id="rId259" /><Relationship Type="http://schemas.openxmlformats.org/officeDocument/2006/relationships/tableStyles" Target="/ppt/tableStyles.xml" Id="rId260" /><Relationship Type="http://schemas.microsoft.com/office/2015/10/relationships/revisionInfo" Target="/ppt/revisionInfo.xml" Id="rId261" /><Relationship Type="http://schemas.microsoft.com/office/2018/10/relationships/authors" Target="/ppt/authors.xml" Id="rId262" /><Relationship Type="http://schemas.openxmlformats.org/officeDocument/2006/relationships/slide" Target="/ppt/slides/slide194.xml" Id="rId197" /><Relationship Type="http://schemas.openxmlformats.org/officeDocument/2006/relationships/customXml" Target="/customXml/item1.xml" Id="rId1" /><Relationship Type="http://schemas.openxmlformats.org/officeDocument/2006/relationships/notesMaster" Target="/ppt/notesMasters/notesMaster1.xml" Id="rId254" /><Relationship Type="http://schemas.openxmlformats.org/officeDocument/2006/relationships/customXml" Target="/customXml/item2.xml" Id="rId2" /><Relationship Type="http://schemas.openxmlformats.org/officeDocument/2006/relationships/handoutMaster" Target="/ppt/handoutMasters/handoutMaster1.xml" Id="rId255" /><Relationship Type="http://schemas.openxmlformats.org/officeDocument/2006/relationships/slideMaster" Target="/ppt/slideMasters/slideMaster1.xml" Id="rId3" /><Relationship Type="http://schemas.openxmlformats.org/officeDocument/2006/relationships/tags" Target="/ppt/tags/tag1.xml" Id="rId256" /><Relationship Type="http://schemas.openxmlformats.org/officeDocument/2006/relationships/presProps" Target="/ppt/presProps.xml" Id="rId257" /></Relationships>
</file>

<file path=ppt/charts/_rels/chart23.xml.rels>&#65279;<?xml version="1.0" encoding="utf-8"?><Relationships xmlns="http://schemas.openxmlformats.org/package/2006/relationships"><Relationship Type="http://schemas.openxmlformats.org/officeDocument/2006/relationships/package" Target="/ppt/embeddings/Microsoft_Excel_Binary_Worksheet22.xlsb" Id="rId1" /></Relationships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750205874279E-3"/>
          <c:y val="6.8149717514124297E-2"/>
          <c:w val="0.98572604995882518"/>
          <c:h val="0.86370056497175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47C-4736-A062-C5741A19BF2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47C-4736-A062-C5741A19BF2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47C-4736-A062-C5741A19BF2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47C-4736-A062-C5741A19BF2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47C-4736-A062-C5741A19BF23}"/>
                </c:ext>
              </c:extLst>
            </c:dLbl>
            <c:dLbl>
              <c:idx val="3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47C-4736-A062-C5741A19BF2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7C-4736-A062-C5741A19BF2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7C-4736-A062-C5741A19BF2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47C-4736-A062-C5741A19BF2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47C-4736-A062-C5741A19BF2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47C-4736-A062-C5741A19BF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</c:v>
                </c:pt>
                <c:pt idx="1">
                  <c:v>8.2149999999999999</c:v>
                </c:pt>
                <c:pt idx="2">
                  <c:v>10.88</c:v>
                </c:pt>
                <c:pt idx="3">
                  <c:v>16.701000000000001</c:v>
                </c:pt>
                <c:pt idx="4">
                  <c:v>13.846000000000002</c:v>
                </c:pt>
                <c:pt idx="5">
                  <c:v>25.056000000000001</c:v>
                </c:pt>
                <c:pt idx="6">
                  <c:v>25.706999999999997</c:v>
                </c:pt>
                <c:pt idx="7">
                  <c:v>29.447466666666699</c:v>
                </c:pt>
                <c:pt idx="8">
                  <c:v>33.07983809523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47C-4736-A062-C5741A19BF23}"/>
            </c:ext>
          </c:extLst>
        </c:ser>
        <c:ser>
          <c:idx val="1"/>
          <c:order val="1"/>
          <c:spPr>
            <a:solidFill>
              <a:schemeClr val="accent5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447C-4736-A062-C5741A19BF2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447C-4736-A062-C5741A19BF2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47C-4736-A062-C5741A19BF2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47C-4736-A062-C5741A19BF2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47C-4736-A062-C5741A19BF2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47C-4736-A062-C5741A19BF2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47C-4736-A062-C5741A19BF23}"/>
                </c:ext>
              </c:extLst>
            </c:dLbl>
            <c:dLbl>
              <c:idx val="5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47C-4736-A062-C5741A19BF2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47C-4736-A062-C5741A19BF2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47C-4736-A062-C5741A19BF23}"/>
                </c:ext>
              </c:extLst>
            </c:dLbl>
            <c:dLbl>
              <c:idx val="8"/>
              <c:layout>
                <c:manualLayout>
                  <c:x val="0"/>
                  <c:y val="-3.53107344632768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47C-4736-A062-C5741A19BF2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32</c:v>
                </c:pt>
                <c:pt idx="1">
                  <c:v>33.5</c:v>
                </c:pt>
                <c:pt idx="2">
                  <c:v>34.200000000000003</c:v>
                </c:pt>
                <c:pt idx="3">
                  <c:v>36.299999999999997</c:v>
                </c:pt>
                <c:pt idx="4">
                  <c:v>37.1</c:v>
                </c:pt>
                <c:pt idx="5">
                  <c:v>35.200000000000003</c:v>
                </c:pt>
                <c:pt idx="6">
                  <c:v>37.100000000000009</c:v>
                </c:pt>
                <c:pt idx="7">
                  <c:v>41.3</c:v>
                </c:pt>
                <c:pt idx="8">
                  <c:v>4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47C-4736-A062-C5741A19B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91182991"/>
        <c:axId val="1"/>
      </c:barChart>
      <c:catAx>
        <c:axId val="991182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911829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&#65279;<?xml version="1.0" encoding="utf-8"?><Relationships xmlns="http://schemas.openxmlformats.org/package/2006/relationships"><Relationship Type="http://schemas.openxmlformats.org/officeDocument/2006/relationships/image" Target="/ppt/media/image1.emf" Id="rId1" /></Relationships>
</file>

<file path=ppt/drawings/_rels/vmlDrawing198.vml.rels>&#65279;<?xml version="1.0" encoding="utf-8"?><Relationships xmlns="http://schemas.openxmlformats.org/package/2006/relationships"><Relationship Type="http://schemas.openxmlformats.org/officeDocument/2006/relationships/image" Target="/ppt/media/image211.emf" Id="rId1" /></Relationships>
</file>

<file path=ppt/drawings/_rels/vmlDrawing3.vml.rels>&#65279;<?xml version="1.0" encoding="utf-8"?><Relationships xmlns="http://schemas.openxmlformats.org/package/2006/relationships"><Relationship Type="http://schemas.openxmlformats.org/officeDocument/2006/relationships/image" Target="/ppt/media/image4.emf" Id="rId1" /></Relationships>
</file>

<file path=ppt/handoutMasters/_rels/handoutMaster1.xml.rels>&#65279;<?xml version="1.0" encoding="utf-8"?><Relationships xmlns="http://schemas.openxmlformats.org/package/2006/relationships"><Relationship Type="http://schemas.openxmlformats.org/officeDocument/2006/relationships/theme" Target="/ppt/theme/theme3.xml" Id="rId1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&#65279;<?xml version="1.0" encoding="utf-8"?><Relationships xmlns="http://schemas.openxmlformats.org/package/2006/relationships"><Relationship Type="http://schemas.openxmlformats.org/officeDocument/2006/relationships/theme" Target="/ppt/theme/theme2.xml" Id="rId1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94.xml.rels>&#65279;<?xml version="1.0" encoding="utf-8"?><Relationships xmlns="http://schemas.openxmlformats.org/package/2006/relationships"><Relationship Type="http://schemas.openxmlformats.org/officeDocument/2006/relationships/slide" Target="/ppt/slides/slide194.xml" Id="rId2" /><Relationship Type="http://schemas.openxmlformats.org/officeDocument/2006/relationships/notesMaster" Target="/ppt/notesMasters/notesMaster1.xml" Id="rId1" /></Relationships>
</file>

<file path=ppt/notesSlides/notesSlide1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746075"/>
      </p:ext>
    </p:extLst>
  </p:cSld>
  <p:clrMapOvr>
    <a:masterClrMapping/>
  </p:clrMapOvr>
</p:notes>
</file>

<file path=ppt/slideLayouts/_rels/slideLayout5.xml.rels>&#65279;<?xml version="1.0" encoding="utf-8"?><Relationships xmlns="http://schemas.openxmlformats.org/package/2006/relationships"><Relationship Type="http://schemas.openxmlformats.org/officeDocument/2006/relationships/slideMaster" Target="/ppt/slideMasters/slideMaster1.xml" Id="rId3" /><Relationship Type="http://schemas.openxmlformats.org/officeDocument/2006/relationships/tags" Target="/ppt/tags/tag4.xml" Id="rId2" /><Relationship Type="http://schemas.openxmlformats.org/officeDocument/2006/relationships/vmlDrawing" Target="/ppt/drawings/vmlDrawing3.vml" Id="rId1" /><Relationship Type="http://schemas.openxmlformats.org/officeDocument/2006/relationships/image" Target="/ppt/media/image4.emf" Id="rId5" /><Relationship Type="http://schemas.openxmlformats.org/officeDocument/2006/relationships/oleObject" Target="/ppt/embeddings/oleObject3.bin" Id="rId4" /></Relationships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65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?><Relationships xmlns="http://schemas.openxmlformats.org/package/2006/relationships"><Relationship Type="http://schemas.openxmlformats.org/officeDocument/2006/relationships/vmlDrawing" Target="/ppt/drawings/vmlDrawing1.vml" Id="rId8" /><Relationship Type="http://schemas.openxmlformats.org/officeDocument/2006/relationships/theme" Target="/ppt/theme/theme1.xml" Id="rId7" /><Relationship Type="http://schemas.openxmlformats.org/officeDocument/2006/relationships/image" Target="/ppt/media/image1.emf" Id="rId11" /><Relationship Type="http://schemas.openxmlformats.org/officeDocument/2006/relationships/slideLayout" Target="/ppt/slideLayouts/slideLayout5.xml" Id="rId5" /><Relationship Type="http://schemas.openxmlformats.org/officeDocument/2006/relationships/oleObject" Target="/ppt/embeddings/oleObject1.bin" Id="rId10" /><Relationship Type="http://schemas.openxmlformats.org/officeDocument/2006/relationships/tags" Target="/ppt/tags/tag2.xml" Id="rId9" /></Relationships>
</file>

<file path=ppt/slideMasters/slideMaster1.xml><?xml version="1.0" encoding="utf-8"?>
<p:sldMaster xmlns:mc="http://schemas.openxmlformats.org/markup-compatibility/2006" xmlns:v="urn:schemas-microsoft-com:vml"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83887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94.xml.rels>&#65279;<?xml version="1.0" encoding="utf-8"?><Relationships xmlns="http://schemas.openxmlformats.org/package/2006/relationships"><Relationship Type="http://schemas.openxmlformats.org/officeDocument/2006/relationships/tags" Target="/ppt/tags/tag684.xml" Id="rId13" /><Relationship Type="http://schemas.openxmlformats.org/officeDocument/2006/relationships/tags" Target="/ppt/tags/tag689.xml" Id="rId18" /><Relationship Type="http://schemas.openxmlformats.org/officeDocument/2006/relationships/tags" Target="/ppt/tags/tag697.xml" Id="rId26" /><Relationship Type="http://schemas.openxmlformats.org/officeDocument/2006/relationships/tags" Target="/ppt/tags/tag674.xml" Id="rId3" /><Relationship Type="http://schemas.openxmlformats.org/officeDocument/2006/relationships/tags" Target="/ppt/tags/tag692.xml" Id="rId21" /><Relationship Type="http://schemas.openxmlformats.org/officeDocument/2006/relationships/chart" Target="/ppt/charts/chart23.xml" Id="rId34" /><Relationship Type="http://schemas.openxmlformats.org/officeDocument/2006/relationships/tags" Target="/ppt/tags/tag678.xml" Id="rId7" /><Relationship Type="http://schemas.openxmlformats.org/officeDocument/2006/relationships/tags" Target="/ppt/tags/tag683.xml" Id="rId12" /><Relationship Type="http://schemas.openxmlformats.org/officeDocument/2006/relationships/tags" Target="/ppt/tags/tag688.xml" Id="rId17" /><Relationship Type="http://schemas.openxmlformats.org/officeDocument/2006/relationships/tags" Target="/ppt/tags/tag696.xml" Id="rId25" /><Relationship Type="http://schemas.openxmlformats.org/officeDocument/2006/relationships/image" Target="/ppt/media/image211.emf" Id="rId33" /><Relationship Type="http://schemas.openxmlformats.org/officeDocument/2006/relationships/tags" Target="/ppt/tags/tag673.xml" Id="rId2" /><Relationship Type="http://schemas.openxmlformats.org/officeDocument/2006/relationships/tags" Target="/ppt/tags/tag687.xml" Id="rId16" /><Relationship Type="http://schemas.openxmlformats.org/officeDocument/2006/relationships/tags" Target="/ppt/tags/tag691.xml" Id="rId20" /><Relationship Type="http://schemas.openxmlformats.org/officeDocument/2006/relationships/tags" Target="/ppt/tags/tag700.xml" Id="rId29" /><Relationship Type="http://schemas.openxmlformats.org/officeDocument/2006/relationships/vmlDrawing" Target="/ppt/drawings/vmlDrawing198.vml" Id="rId1" /><Relationship Type="http://schemas.openxmlformats.org/officeDocument/2006/relationships/tags" Target="/ppt/tags/tag677.xml" Id="rId6" /><Relationship Type="http://schemas.openxmlformats.org/officeDocument/2006/relationships/tags" Target="/ppt/tags/tag682.xml" Id="rId11" /><Relationship Type="http://schemas.openxmlformats.org/officeDocument/2006/relationships/tags" Target="/ppt/tags/tag695.xml" Id="rId24" /><Relationship Type="http://schemas.openxmlformats.org/officeDocument/2006/relationships/oleObject" Target="/ppt/embeddings/oleObject198.bin" Id="rId32" /><Relationship Type="http://schemas.openxmlformats.org/officeDocument/2006/relationships/tags" Target="/ppt/tags/tag676.xml" Id="rId5" /><Relationship Type="http://schemas.openxmlformats.org/officeDocument/2006/relationships/tags" Target="/ppt/tags/tag686.xml" Id="rId15" /><Relationship Type="http://schemas.openxmlformats.org/officeDocument/2006/relationships/tags" Target="/ppt/tags/tag694.xml" Id="rId23" /><Relationship Type="http://schemas.openxmlformats.org/officeDocument/2006/relationships/tags" Target="/ppt/tags/tag699.xml" Id="rId28" /><Relationship Type="http://schemas.openxmlformats.org/officeDocument/2006/relationships/tags" Target="/ppt/tags/tag681.xml" Id="rId10" /><Relationship Type="http://schemas.openxmlformats.org/officeDocument/2006/relationships/tags" Target="/ppt/tags/tag690.xml" Id="rId19" /><Relationship Type="http://schemas.openxmlformats.org/officeDocument/2006/relationships/notesSlide" Target="/ppt/notesSlides/notesSlide194.xml" Id="rId31" /><Relationship Type="http://schemas.openxmlformats.org/officeDocument/2006/relationships/tags" Target="/ppt/tags/tag675.xml" Id="rId4" /><Relationship Type="http://schemas.openxmlformats.org/officeDocument/2006/relationships/tags" Target="/ppt/tags/tag680.xml" Id="rId9" /><Relationship Type="http://schemas.openxmlformats.org/officeDocument/2006/relationships/tags" Target="/ppt/tags/tag685.xml" Id="rId14" /><Relationship Type="http://schemas.openxmlformats.org/officeDocument/2006/relationships/tags" Target="/ppt/tags/tag693.xml" Id="rId22" /><Relationship Type="http://schemas.openxmlformats.org/officeDocument/2006/relationships/tags" Target="/ppt/tags/tag698.xml" Id="rId27" /><Relationship Type="http://schemas.openxmlformats.org/officeDocument/2006/relationships/slideLayout" Target="/ppt/slideLayouts/slideLayout5.xml" Id="rId30" /><Relationship Type="http://schemas.openxmlformats.org/officeDocument/2006/relationships/tags" Target="/ppt/tags/tag679.xml" Id="rId8" /></Relationships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A92511-01E3-3B4D-9CD3-912E972ECB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401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1" name="think-cell 幻灯片" r:id="rId32" imgW="360" imgH="360" progId="TCLayout.ActiveDocument.1">
                  <p:embed/>
                </p:oleObj>
              </mc:Choice>
              <mc:Fallback>
                <p:oleObj name="think-cell 幻灯片" r:id="rId32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A92511-01E3-3B4D-9CD3-912E972EC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457DD58-D135-BDE3-D4CA-85EAE8423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dirty="0"/>
              <a:t>Annotations: Total difference arrow</a:t>
            </a:r>
          </a:p>
        </p:txBody>
      </p:sp>
      <p:graphicFrame>
        <p:nvGraphicFramePr>
          <p:cNvPr id="36" name="Chart 3">
            <a:extLst>
              <a:ext uri="{FF2B5EF4-FFF2-40B4-BE49-F238E27FC236}">
                <a16:creationId xmlns:a16="http://schemas.microsoft.com/office/drawing/2014/main" id="{9873D4B7-FFBB-4CBD-92DE-2CE89D14709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7411826"/>
              </p:ext>
            </p:extLst>
          </p:nvPr>
        </p:nvGraphicFramePr>
        <p:xfrm>
          <a:off x="320675" y="1258888"/>
          <a:ext cx="11566525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7EC4527-9C6A-5BE9-DD3B-6794A0C2368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6103938" y="2266950"/>
            <a:ext cx="0" cy="577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F9F58EC-AFAD-4131-DAFB-53261663A63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103938" y="2266950"/>
            <a:ext cx="1266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ADC88FE-99ED-ED19-FA9A-F5F74A9C1A0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370763" y="2266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3">
            <a:extLst>
              <a:ext uri="{FF2B5EF4-FFF2-40B4-BE49-F238E27FC236}">
                <a16:creationId xmlns:a16="http://schemas.microsoft.com/office/drawing/2014/main" id="{B04653B1-7CC7-16E5-8D89-C132891CFD0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64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DBDDD92-6DD0-469E-859A-79536609B3BA}" type="datetime'''''''''''''''''''''''2''''''02''''''''''2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2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" name="Text Placeholder 33">
            <a:extLst>
              <a:ext uri="{FF2B5EF4-FFF2-40B4-BE49-F238E27FC236}">
                <a16:creationId xmlns:a16="http://schemas.microsoft.com/office/drawing/2014/main" id="{E2B7F7DF-0EC6-9E2D-F77C-DF4FBE90012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73275" y="5507038"/>
            <a:ext cx="460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D6657A7-2335-4877-81D9-A51E6D447C24}" type="datetime'''''''''''''''''''''''2''''0''''''''2''''''''''''3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3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41EAFAB6-5B04-42A9-4D49-252CAA4F2B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3385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E2964EE-67D2-45B5-B3A9-CDF8648A8097}" type="datetime'''''''''''''''''''''''''''''''2''''''024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4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3" name="Text Placeholder 33">
            <a:extLst>
              <a:ext uri="{FF2B5EF4-FFF2-40B4-BE49-F238E27FC236}">
                <a16:creationId xmlns:a16="http://schemas.microsoft.com/office/drawing/2014/main" id="{C6853431-4E80-F0CA-A60A-696DB061F1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605338" y="550703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A30C4E7-DF73-46DB-8C08-A9FD9E18A2AD}" type="datetime'''''''2''''''''0''''''''''''2''''''5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5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FF2579BA-910E-68A4-02AF-366A41A944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73750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FF4BE2C-BD38-41CA-ACDB-C30DBE3BE671}" type="datetime'''''''''''''''''''''''''20''''''2''6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6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5" name="Text Placeholder 33">
            <a:extLst>
              <a:ext uri="{FF2B5EF4-FFF2-40B4-BE49-F238E27FC236}">
                <a16:creationId xmlns:a16="http://schemas.microsoft.com/office/drawing/2014/main" id="{4D11FCAB-8310-9FC0-E121-E8E50A808E6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46925" y="5507038"/>
            <a:ext cx="447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C3AD22B-CA00-49A5-AB8A-025ACBF97D52}" type="datetime'''''2''0''''''''2''''''7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7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ext Placeholder 33">
            <a:extLst>
              <a:ext uri="{FF2B5EF4-FFF2-40B4-BE49-F238E27FC236}">
                <a16:creationId xmlns:a16="http://schemas.microsoft.com/office/drawing/2014/main" id="{D2DE583F-8268-2428-521A-A98DA12DB6F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0581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8F6311-C7C2-4D01-936E-95CCC9AAE6B8}" type="datetime'''''''''''''''''''''''2''''0''''''''''''''''''''''''''2''8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8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7" name="Text Placeholder 33">
            <a:extLst>
              <a:ext uri="{FF2B5EF4-FFF2-40B4-BE49-F238E27FC236}">
                <a16:creationId xmlns:a16="http://schemas.microsoft.com/office/drawing/2014/main" id="{2647D264-6006-28EE-867F-EA5A5CB21AE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74225" y="550703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610718-87AA-4286-B9DF-4F34AED2064B}" type="datetime'''2''''02''''''''''''9''''''''''''''''''''''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29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8" name="Text Placeholder 33">
            <a:extLst>
              <a:ext uri="{FF2B5EF4-FFF2-40B4-BE49-F238E27FC236}">
                <a16:creationId xmlns:a16="http://schemas.microsoft.com/office/drawing/2014/main" id="{5A1F1E7C-21EA-EFE5-C44E-BF1FD1D9DF5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939463" y="5507038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itchFamily="34" charset="0"/>
              <a:buNone/>
              <a:defRPr lang="en-US" sz="1300" b="1" strike="noStrike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1pPr>
            <a:lvl2pPr marL="164592" indent="-164592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defRPr lang="en-US" sz="1300" b="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2pPr>
            <a:lvl3pPr marL="329184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defRPr lang="en-US" sz="13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3pPr>
            <a:lvl4pPr marL="493776" indent="-164592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60000"/>
              <a:buFont typeface="Wingdings" pitchFamily="2" charset="2"/>
              <a:buChar char=""/>
              <a:tabLst/>
              <a:defRPr lang="en-US" sz="1100" kern="1200" baseline="0" dirty="0" smtClean="0">
                <a:solidFill>
                  <a:schemeClr val="tx1"/>
                </a:solidFill>
                <a:latin typeface="Trade Gothic LT Com"/>
                <a:ea typeface="+mn-ea"/>
                <a:cs typeface="Arial" pitchFamily="34" charset="0"/>
              </a:defRPr>
            </a:lvl4pPr>
            <a:lvl5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A9A9A"/>
              </a:buClr>
              <a:buSzPct val="80000"/>
              <a:buFont typeface="Arial" pitchFamily="34" charset="0"/>
              <a:buChar char="─"/>
              <a:tabLst/>
              <a:defRPr sz="1100" kern="1200" baseline="0">
                <a:solidFill>
                  <a:schemeClr val="tx1"/>
                </a:solidFill>
                <a:latin typeface="Trade Gothic LT Com"/>
                <a:ea typeface="+mn-ea"/>
                <a:cs typeface="BentonSansCond-Regular" pitchFamily="2" charset="0"/>
              </a:defRPr>
            </a:lvl5pPr>
            <a:lvl6pPr marL="346075" indent="0" algn="l" defTabSz="914400" rtl="0" eaLnBrk="1" latinLnBrk="0" hangingPunct="1">
              <a:spcBef>
                <a:spcPts val="500"/>
              </a:spcBef>
              <a:buClr>
                <a:srgbClr val="9A9A9A"/>
              </a:buClr>
              <a:buFont typeface="Wingdings" pitchFamily="2" charset="2"/>
              <a:buChar char="§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CC4AE1B-A714-4BC5-8357-F1C91F83873C}" type="datetime'2''''''''''''''''''''0''''''''3''0'''''">
              <a:rPr lang="en-US" altLang="en-US" sz="1400" smtClean="0">
                <a:solidFill>
                  <a:srgbClr val="000000"/>
                </a:solidFill>
                <a:latin typeface="+mn-lt"/>
                <a:cs typeface="+mn-cs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30</a:t>
            </a:fld>
            <a:endParaRPr kumimoji="0" lang="en-US" sz="14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4388" y="3382963"/>
            <a:ext cx="446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8C8B24-2FCA-4050-9222-07864E1FC1C0}" type="datetime'''''''''4''''''''''''''''''''0.''''''''''0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11376" y="3305175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C9FF5F-ECE4-407B-857E-440FD42955B2}" type="datetime'''''''''''''''''''4''1''.''''''''''''''''7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370263" y="3151188"/>
            <a:ext cx="401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C53A5-ABE1-4BE7-A29D-BB1851073958}" type="datetime'''''''''4''''5.''''''''''''''''''''''1''''''''''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.1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18038" y="2789238"/>
            <a:ext cx="43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34482A-3593-4C9B-974F-789845E8E7D1}" type="datetime'''''''''''''''''''''''''''''''5''''3''''''''''''.0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0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884863" y="2882900"/>
            <a:ext cx="439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69FEE4-1B5C-4279-8654-005BE2456449}" type="datetime'''''''''''5''''''''''''''''''0''''''''''''''''''''.''''''9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.9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153275" y="245745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B326C3-E5DA-4A3E-8997-F088AC6D68EE}" type="datetime'''''''''''''''''''6''0''''''.''3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.3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20100" y="2341563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DB97FD-7023-417B-94AC-C278069AFD49}" type="datetime'''''''''6''''2''.''''''''8''''''''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.8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699625" y="1978025"/>
            <a:ext cx="409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BE7745-F7E6-47E3-BE66-CB3EAC3E1DF3}" type="datetime'''''''''7''''''''''''0''''.''''''''''7''''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.7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961688" y="1716088"/>
            <a:ext cx="420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48F98-2AC0-40A9-8B9E-6A6E071D35DA}" type="datetime'''''''''''''''''''''''7''''''6.''''''''''''''''''''''''''5'">
              <a:rPr lang="en-US" altLang="en-US" sz="1400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.5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337300" y="1965324"/>
            <a:ext cx="801688" cy="6032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EEEB98-CEE9-4256-A442-3AB8BC92FC88}" type="datetime'''''''+''''''''''''''18''''''''''''''''''''''%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8%</a:t>
            </a:fld>
            <a:b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</a:br>
            <a: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  <a:t>(</a:t>
            </a:r>
            <a:fld id="{8776FC1C-6F66-421D-9137-BAFCA0DDD0FF}" type="datetime'+''''''''''9''.''''''''''''''3'''''''''''''''''''''">
              <a:rPr lang="en-US" altLang="en-US" sz="1400" b="1" smtClean="0">
                <a:solidFill>
                  <a:schemeClr val="bg2">
                    <a:lumMod val="10000"/>
                  </a:schemeClr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9.3</a:t>
            </a:fld>
            <a:r>
              <a:rPr lang="en-US" altLang="en-US" sz="1400" b="1" dirty="0">
                <a:solidFill>
                  <a:schemeClr val="bg2">
                    <a:lumMod val="10000"/>
                  </a:schemeClr>
                </a:solidFill>
                <a:effectLst/>
              </a:rPr>
              <a:t>)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BF0E804-7D21-325E-53FB-1A7530437E1F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74663" y="164147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AF548BC-1008-60E0-E47C-5CC4270277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74663" y="19050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354DFD-F296-85E6-0EE3-B091CAE79D4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6288" y="1636713"/>
            <a:ext cx="173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F7F36DB-2003-4E52-B151-F86053675846}" type="datetime'''''''Re''ven''''''''''''ue'' ''''E''''''''MEA,'' $''bn''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EMEA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6288" y="1900238"/>
            <a:ext cx="2035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A2C74BA5-8C47-49EC-BCDB-D0D2EA8F15D4}" type="datetime'Revenu''e A''''''''''''''me''''r''i''cas'''', $b''''''n'''''">
              <a:rPr lang="en-US" altLang="en-US" sz="1400" smtClean="0">
                <a:solidFill>
                  <a:schemeClr val="bg2">
                    <a:lumMod val="10000"/>
                  </a:schemeClr>
                </a:solidFill>
              </a:rPr>
              <a:pPr marL="0" lvl="2" indent="0">
                <a:spcBef>
                  <a:spcPct val="0"/>
                </a:spcBef>
                <a:spcAft>
                  <a:spcPct val="0"/>
                </a:spcAft>
                <a:buNone/>
              </a:pPr>
              <a:t>Revenue Americas, $bn</a:t>
            </a:fld>
            <a:endParaRPr lang="en-US" sz="140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4CDA5637-EA86-4612-BA13-41891D32BBFA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533319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chemeClr val="tx2"/>
                </a:solidFill>
              </a:rPr>
              <a:t>Keywords: arrows, stacked, column, columns, bar, bars, think-cell, chart, charts, graph, graphs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DACA977-854C-76C5-E9EE-5F4D5C8F0962}"/>
              </a:ext>
            </a:extLst>
          </p:cNvPr>
          <p:cNvSpPr txBox="1">
            <a:spLocks/>
          </p:cNvSpPr>
          <p:nvPr/>
        </p:nvSpPr>
        <p:spPr>
          <a:xfrm>
            <a:off x="407987" y="886115"/>
            <a:ext cx="6214778" cy="67197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0" dirty="0"/>
              <a:t>Insert a total difference arrow to show the difference between two totals.</a:t>
            </a:r>
          </a:p>
          <a:p>
            <a:pPr>
              <a:defRPr/>
            </a:pPr>
            <a:r>
              <a:rPr lang="en-US" sz="1400" b="0" dirty="0"/>
              <a:t>Double-click the arrow to change its direction.</a:t>
            </a:r>
          </a:p>
          <a:p>
            <a:pPr>
              <a:defRPr/>
            </a:pPr>
            <a:r>
              <a:rPr lang="en-US" sz="1400" b="0" dirty="0"/>
              <a:t>Select the total difference label to switch between percent and absolute values.</a:t>
            </a: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0B580CAD-4EB1-92EB-ABB9-7584A1DCBDC5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r>
              <a:rPr lang="en-US" sz="1200" u="sng" dirty="0">
                <a:solidFill>
                  <a:schemeClr val="tx1"/>
                </a:solidFill>
              </a:rPr>
              <a:t>This slide contains a </a:t>
            </a:r>
            <a:r>
              <a:rPr lang="en-US" sz="1200" b="1" u="sng" dirty="0">
                <a:solidFill>
                  <a:schemeClr val="tx1"/>
                </a:solidFill>
              </a:rPr>
              <a:t>think-cell chart</a:t>
            </a:r>
            <a:r>
              <a:rPr lang="en-US" sz="1200" u="sng" dirty="0">
                <a:solidFill>
                  <a:schemeClr val="tx1"/>
                </a:solidFill>
              </a:rPr>
              <a:t>.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</a:t>
            </a:r>
            <a:r>
              <a:rPr lang="en-US" sz="1200" b="1" dirty="0">
                <a:solidFill>
                  <a:schemeClr val="tx1"/>
                </a:solidFill>
              </a:rPr>
              <a:t> open the chart's internal datasheet</a:t>
            </a:r>
            <a:r>
              <a:rPr lang="en-US" sz="1200" dirty="0">
                <a:solidFill>
                  <a:schemeClr val="tx1"/>
                </a:solidFill>
              </a:rPr>
              <a:t>, double-clic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any empty space in the chart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add annotations </a:t>
            </a:r>
            <a:r>
              <a:rPr lang="en-US" sz="1200" dirty="0">
                <a:solidFill>
                  <a:schemeClr val="tx1"/>
                </a:solidFill>
              </a:rPr>
              <a:t>(e.g., CAGR arrows, difference arrows)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right-click the chart or a chart feature to open the context menu.</a:t>
            </a:r>
            <a:endParaRPr lang="en-US" sz="1200" dirty="0">
              <a:solidFill>
                <a:schemeClr val="tx1"/>
              </a:solidFill>
              <a:cs typeface="Arial"/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hange the style and formatting</a:t>
            </a:r>
            <a:r>
              <a:rPr lang="en-US" sz="1200" dirty="0">
                <a:solidFill>
                  <a:schemeClr val="tx1"/>
                </a:solidFill>
              </a:rPr>
              <a:t> of the chart or a feature,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click the chart or feature to open the mini toolbar.</a:t>
            </a:r>
            <a:endParaRPr lang="en-US" sz="120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203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YcCf_plSK62QpxZivTH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i37rvx9Pv8h0.lhmaoZ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AYiI3UXpt0lvJbZJ0s4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377OV6vAabMhghxMuv3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nSndZMemy3UaXUWbTtA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2Tmh9luVN2PjPmyZv8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Z4SJ9ZvvTC.A9mEXhsO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FE5VBvd04hFH89JrfyL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v7W0BwjO8oIjyvHmg3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fVwMRjnMYKDEYZJAc_U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Wrlpecb2bGjz1VueOE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u4tRO7oLMb85gyZqUH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LmFAxEuxMekdKDvq6a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ZwlQoXfzrQm1jMSPhzg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xh4u9m5SUQXqsGGuYy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61NyqBay.cNz_nClUrB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3_c38_Ooyzmqb3X4vg7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bcCBlxA96moYcreA7k.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ldaiJ3YtiPOdsHYq6i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NxJcx1T2tPo5oS5kED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.L.ABCPM_qJ.pAMaGF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oVEYbveUfxtGovsDnY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mHIxJt6zA59lSahVU3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S4w8ihIw1BYHPUcgC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MG_enETVD1JxQCKQqT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OPIDmv8cnMrh5BKlQG0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yyTJAg_PCDQEzWir9A"/>
</p:tagLst>
</file>

<file path=ppt/theme/theme1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?><Relationships xmlns="http://schemas.openxmlformats.org/package/2006/relationships"><Relationship Type="http://schemas.openxmlformats.org/officeDocument/2006/relationships/customXmlProps" Target="/customXml/itemProps1.xml" Id="rId1" /></Relationships>
</file>

<file path=customXml/_rels/item2.xml.rels>&#65279;<?xml version="1.0" encoding="utf-8"?><Relationships xmlns="http://schemas.openxmlformats.org/package/2006/relationships"><Relationship Type="http://schemas.openxmlformats.org/officeDocument/2006/relationships/customXmlProps" Target="/customXml/itemProps2.xml" Id="rId1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dd700bd-da09-4649-9444-0dda6d878ea0">
      <Terms xmlns="http://schemas.microsoft.com/office/infopath/2007/PartnerControls"/>
    </lcf76f155ced4ddcb4097134ff3c332f>
    <TaxCatchAll xmlns="864686ff-c528-4121-8c14-dfe2dfe54fd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EBA828D669A945A665683A6A0700C6" ma:contentTypeVersion="16" ma:contentTypeDescription="Create a new document." ma:contentTypeScope="" ma:versionID="3689712686b1536c59bae695a2aec147">
  <xsd:schema xmlns:xsd="http://www.w3.org/2001/XMLSchema" xmlns:xs="http://www.w3.org/2001/XMLSchema" xmlns:p="http://schemas.microsoft.com/office/2006/metadata/properties" xmlns:ns2="6dd700bd-da09-4649-9444-0dda6d878ea0" xmlns:ns3="864686ff-c528-4121-8c14-dfe2dfe54fd3" targetNamespace="http://schemas.microsoft.com/office/2006/metadata/properties" ma:root="true" ma:fieldsID="b09bedee47c1608be4bb72120d99801d" ns2:_="" ns3:_="">
    <xsd:import namespace="6dd700bd-da09-4649-9444-0dda6d878ea0"/>
    <xsd:import namespace="864686ff-c528-4121-8c14-dfe2dfe54f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d700bd-da09-4649-9444-0dda6d878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686ff-c528-4121-8c14-dfe2dfe54f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25ba9f0-7af7-415e-a485-bfde88f13ed4}" ma:internalName="TaxCatchAll" ma:showField="CatchAllData" ma:web="864686ff-c528-4121-8c14-dfe2dfe54f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B317A9-6803-48C9-9473-817C969622FE}">
  <ds:schemaRefs>
    <ds:schemaRef ds:uri="http://schemas.microsoft.com/office/2006/documentManagement/types"/>
    <ds:schemaRef ds:uri="http://purl.org/dc/elements/1.1/"/>
    <ds:schemaRef ds:uri="http://purl.org/dc/dcmitype/"/>
    <ds:schemaRef ds:uri="6dd700bd-da09-4649-9444-0dda6d878ea0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64686ff-c528-4121-8c14-dfe2dfe54fd3"/>
  </ds:schemaRefs>
</ds:datastoreItem>
</file>

<file path=customXml/itemProps2.xml><?xml version="1.0" encoding="utf-8"?>
<ds:datastoreItem xmlns:ds="http://schemas.openxmlformats.org/officeDocument/2006/customXml" ds:itemID="{343A29A7-6CC8-4547-B6F1-D3AFCBF90A13}">
  <ds:schemaRefs>
    <ds:schemaRef ds:uri="6dd700bd-da09-4649-9444-0dda6d878ea0"/>
    <ds:schemaRef ds:uri="864686ff-c528-4121-8c14-dfe2dfe5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83</Words>
  <Application>Microsoft Office PowerPoint</Application>
  <PresentationFormat>宽屏</PresentationFormat>
  <Paragraphs>5454</Paragraphs>
  <Slides>250</Slides>
  <Notes>250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0</vt:i4>
      </vt:variant>
    </vt:vector>
  </HeadingPairs>
  <TitlesOfParts>
    <vt:vector size="268" baseType="lpstr">
      <vt:lpstr>Arial,Sans-Serif</vt:lpstr>
      <vt:lpstr>Avenir Next</vt:lpstr>
      <vt:lpstr>Gill Sans</vt:lpstr>
      <vt:lpstr>Helvetica Neue Light</vt:lpstr>
      <vt:lpstr>理想品牌字体 2022</vt:lpstr>
      <vt:lpstr>Arial</vt:lpstr>
      <vt:lpstr>Calibri</vt:lpstr>
      <vt:lpstr>Lato Light</vt:lpstr>
      <vt:lpstr>Montserrat</vt:lpstr>
      <vt:lpstr>Montserrat ExtraBold</vt:lpstr>
      <vt:lpstr>Segoe UI</vt:lpstr>
      <vt:lpstr>Symbol</vt:lpstr>
      <vt:lpstr>Trebuchet MS</vt:lpstr>
      <vt:lpstr>Verdana</vt:lpstr>
      <vt:lpstr>Wingdings</vt:lpstr>
      <vt:lpstr>Wingdings 2</vt:lpstr>
      <vt:lpstr>BCG Grid 16:9</vt:lpstr>
      <vt:lpstr>think-cell 幻灯片</vt:lpstr>
      <vt:lpstr>Agenda I</vt:lpstr>
      <vt:lpstr>Agenda II</vt:lpstr>
      <vt:lpstr>Agenda III</vt:lpstr>
      <vt:lpstr>Agenda with icons</vt:lpstr>
      <vt:lpstr>Table of contents</vt:lpstr>
      <vt:lpstr>Table of contents, clustered</vt:lpstr>
      <vt:lpstr>Schedule I</vt:lpstr>
      <vt:lpstr>Schedule II</vt:lpstr>
      <vt:lpstr>Schedule III</vt:lpstr>
      <vt:lpstr>Schedule IV</vt:lpstr>
      <vt:lpstr>Dashboard schedule </vt:lpstr>
      <vt:lpstr>Dashboard</vt:lpstr>
      <vt:lpstr>Traffic light dashboard</vt:lpstr>
      <vt:lpstr>Management summary</vt:lpstr>
      <vt:lpstr>Innovative power</vt:lpstr>
      <vt:lpstr>Stats dashboard</vt:lpstr>
      <vt:lpstr>Funnel I</vt:lpstr>
      <vt:lpstr>Funnel II</vt:lpstr>
      <vt:lpstr>Funnel III</vt:lpstr>
      <vt:lpstr>Funnel, horizontal I</vt:lpstr>
      <vt:lpstr>Funnel, horizontal II</vt:lpstr>
      <vt:lpstr>Funnel dashboard</vt:lpstr>
      <vt:lpstr>Simple organigram</vt:lpstr>
      <vt:lpstr>Organigram, clustered I</vt:lpstr>
      <vt:lpstr>Organigram, clustered II</vt:lpstr>
      <vt:lpstr>Organigram, clustered III</vt:lpstr>
      <vt:lpstr>Monopoly-box organigram</vt:lpstr>
      <vt:lpstr>Decision tree</vt:lpstr>
      <vt:lpstr>Hierarchy tree I</vt:lpstr>
      <vt:lpstr>Hierarchy tree II</vt:lpstr>
      <vt:lpstr>Problem tree</vt:lpstr>
      <vt:lpstr>3D pyramid with three layers</vt:lpstr>
      <vt:lpstr>3D pyramid with four layers</vt:lpstr>
      <vt:lpstr>Pyramid with four layers</vt:lpstr>
      <vt:lpstr>Pyramid with six layers</vt:lpstr>
      <vt:lpstr>Pyramid with five layers, cropped</vt:lpstr>
      <vt:lpstr>Ziggurat diagram</vt:lpstr>
      <vt:lpstr>Triangles with text</vt:lpstr>
      <vt:lpstr>Five layers with text I</vt:lpstr>
      <vt:lpstr>Five layers with text II</vt:lpstr>
      <vt:lpstr>Three core elements I</vt:lpstr>
      <vt:lpstr>Three core elements II</vt:lpstr>
      <vt:lpstr>Sunburst diagram, illustrative</vt:lpstr>
      <vt:lpstr>Sunburst diagram, data-driven</vt:lpstr>
      <vt:lpstr>Spiderweb</vt:lpstr>
      <vt:lpstr>Intersection</vt:lpstr>
      <vt:lpstr>Common aspects</vt:lpstr>
      <vt:lpstr>Three important values</vt:lpstr>
      <vt:lpstr>Venn diagram</vt:lpstr>
      <vt:lpstr>Venn diagrams</vt:lpstr>
      <vt:lpstr>Target market</vt:lpstr>
      <vt:lpstr>Supply chain management</vt:lpstr>
      <vt:lpstr>Density</vt:lpstr>
      <vt:lpstr>100 people</vt:lpstr>
      <vt:lpstr>Quantity comparison</vt:lpstr>
      <vt:lpstr>Comparison of percentages</vt:lpstr>
      <vt:lpstr>Comparison of ring diagrams</vt:lpstr>
      <vt:lpstr>Comparison of ring diagrams with results</vt:lpstr>
      <vt:lpstr>Two barometers with text </vt:lpstr>
      <vt:lpstr>Goal</vt:lpstr>
      <vt:lpstr>Iceberg</vt:lpstr>
      <vt:lpstr>World map with text</vt:lpstr>
      <vt:lpstr>World map dashboard</vt:lpstr>
      <vt:lpstr>World map</vt:lpstr>
      <vt:lpstr>World map: North America</vt:lpstr>
      <vt:lpstr>World map: South America</vt:lpstr>
      <vt:lpstr>World map: Europe</vt:lpstr>
      <vt:lpstr>World map: Africa</vt:lpstr>
      <vt:lpstr>World map: Asia</vt:lpstr>
      <vt:lpstr>World map: Oceania</vt:lpstr>
      <vt:lpstr>Map: Australia</vt:lpstr>
      <vt:lpstr>Map: Brazil</vt:lpstr>
      <vt:lpstr>Map: Canada</vt:lpstr>
      <vt:lpstr>Map: China</vt:lpstr>
      <vt:lpstr>Map: France</vt:lpstr>
      <vt:lpstr>Map: Germany</vt:lpstr>
      <vt:lpstr>Map: India</vt:lpstr>
      <vt:lpstr>Map: Italy</vt:lpstr>
      <vt:lpstr>Map: Japan</vt:lpstr>
      <vt:lpstr>Map: Mexico</vt:lpstr>
      <vt:lpstr>Map: Russia</vt:lpstr>
      <vt:lpstr>Map: South Korea</vt:lpstr>
      <vt:lpstr>Map: Spain</vt:lpstr>
      <vt:lpstr>Map: United Kingdom</vt:lpstr>
      <vt:lpstr>Map: United States</vt:lpstr>
      <vt:lpstr>Matrix: Good, neutral, bad</vt:lpstr>
      <vt:lpstr>Matrix: Four blocks I</vt:lpstr>
      <vt:lpstr>Matrix: Four blocks II</vt:lpstr>
      <vt:lpstr>Matrix: Nine blocks</vt:lpstr>
      <vt:lpstr>Aspect matrix</vt:lpstr>
      <vt:lpstr>Icon matrix</vt:lpstr>
      <vt:lpstr>Process matrix</vt:lpstr>
      <vt:lpstr>Matrices with four areas</vt:lpstr>
      <vt:lpstr>SWOT analysis I</vt:lpstr>
      <vt:lpstr>SWOT analysis II</vt:lpstr>
      <vt:lpstr>SWOT analysis III</vt:lpstr>
      <vt:lpstr>SWOT analysis dashboard</vt:lpstr>
      <vt:lpstr>Honeycomb</vt:lpstr>
      <vt:lpstr>Puzzle</vt:lpstr>
      <vt:lpstr>Process puzzle</vt:lpstr>
      <vt:lpstr>Two obstacles</vt:lpstr>
      <vt:lpstr>Pillar text box</vt:lpstr>
      <vt:lpstr>Business model</vt:lpstr>
      <vt:lpstr>Pros and cons I</vt:lpstr>
      <vt:lpstr>Pros and cons II</vt:lpstr>
      <vt:lpstr>Pros and cons III</vt:lpstr>
      <vt:lpstr>Five steps </vt:lpstr>
      <vt:lpstr>Buildup</vt:lpstr>
      <vt:lpstr>Three stairs </vt:lpstr>
      <vt:lpstr>Ladder to goal I</vt:lpstr>
      <vt:lpstr>Ladder to goal II</vt:lpstr>
      <vt:lpstr>Four circular elements</vt:lpstr>
      <vt:lpstr>Radiate </vt:lpstr>
      <vt:lpstr>Mind map</vt:lpstr>
      <vt:lpstr>Circle with numbered text I</vt:lpstr>
      <vt:lpstr>Circle with numbered text II</vt:lpstr>
      <vt:lpstr>Process flow</vt:lpstr>
      <vt:lpstr>Process flow with swim lanes</vt:lpstr>
      <vt:lpstr>Process stages</vt:lpstr>
      <vt:lpstr>Infographic process I</vt:lpstr>
      <vt:lpstr>Infographic process II</vt:lpstr>
      <vt:lpstr>Infographic process III</vt:lpstr>
      <vt:lpstr>Infographic process IV</vt:lpstr>
      <vt:lpstr>Infographic process V</vt:lpstr>
      <vt:lpstr>Infographic process VI</vt:lpstr>
      <vt:lpstr>Infographic process VII</vt:lpstr>
      <vt:lpstr>Infographic process with highlight</vt:lpstr>
      <vt:lpstr>Infographic process with results</vt:lpstr>
      <vt:lpstr>Four steps</vt:lpstr>
      <vt:lpstr>Path</vt:lpstr>
      <vt:lpstr>Numbered process</vt:lpstr>
      <vt:lpstr>Circular ongoing sprint</vt:lpstr>
      <vt:lpstr>Circular sprint</vt:lpstr>
      <vt:lpstr>Circular text</vt:lpstr>
      <vt:lpstr>Circular text flow</vt:lpstr>
      <vt:lpstr>Process circle</vt:lpstr>
      <vt:lpstr>Four circle segments</vt:lpstr>
      <vt:lpstr>Six circle segments</vt:lpstr>
      <vt:lpstr>Value chain I</vt:lpstr>
      <vt:lpstr>Value chain II</vt:lpstr>
      <vt:lpstr>Value chain III</vt:lpstr>
      <vt:lpstr>Overlapping processes</vt:lpstr>
      <vt:lpstr>Customer journey</vt:lpstr>
      <vt:lpstr>Customer journey dashboard</vt:lpstr>
      <vt:lpstr>Plan</vt:lpstr>
      <vt:lpstr>Swim lane</vt:lpstr>
      <vt:lpstr>Swim lane, complex</vt:lpstr>
      <vt:lpstr>Influencing components</vt:lpstr>
      <vt:lpstr>Building blocks</vt:lpstr>
      <vt:lpstr>Cause and effect I</vt:lpstr>
      <vt:lpstr>Cause and effect II</vt:lpstr>
      <vt:lpstr>Cause and effect III</vt:lpstr>
      <vt:lpstr>Cause and effect IV</vt:lpstr>
      <vt:lpstr>Cause and effect V</vt:lpstr>
      <vt:lpstr>Cause and effect VI</vt:lpstr>
      <vt:lpstr>Phases/processes</vt:lpstr>
      <vt:lpstr>Circular arrows, cycles</vt:lpstr>
      <vt:lpstr>Circle segments I</vt:lpstr>
      <vt:lpstr>Circle segments II</vt:lpstr>
      <vt:lpstr>Quote I</vt:lpstr>
      <vt:lpstr>Quote II</vt:lpstr>
      <vt:lpstr>Six key messages and quotes</vt:lpstr>
      <vt:lpstr>Table with illustrated header</vt:lpstr>
      <vt:lpstr>Sectioned summary</vt:lpstr>
      <vt:lpstr>Table with four columns</vt:lpstr>
      <vt:lpstr>Table with five columns</vt:lpstr>
      <vt:lpstr>Table with five columns, no header</vt:lpstr>
      <vt:lpstr>Team slide with four members</vt:lpstr>
      <vt:lpstr>Team slide with four members and social media profiles I</vt:lpstr>
      <vt:lpstr>Team slide with two members and social media profiles II</vt:lpstr>
      <vt:lpstr>Team slide with three members and social media profiles III</vt:lpstr>
      <vt:lpstr>Team slide with four members and social media profiles IV</vt:lpstr>
      <vt:lpstr>Team slide with five members and social media profiles V</vt:lpstr>
      <vt:lpstr>Team slide with three profiles </vt:lpstr>
      <vt:lpstr>Six business cards</vt:lpstr>
      <vt:lpstr>Short personal profile</vt:lpstr>
      <vt:lpstr>Detailed personal profile</vt:lpstr>
      <vt:lpstr>Two text boxes with pictures</vt:lpstr>
      <vt:lpstr>Three text boxes with pictures</vt:lpstr>
      <vt:lpstr>Four text boxes with pictures</vt:lpstr>
      <vt:lpstr>Two text boxes with pictures, vertical</vt:lpstr>
      <vt:lpstr>Assessment</vt:lpstr>
      <vt:lpstr>Six building blocks II</vt:lpstr>
      <vt:lpstr>Six building blocks I</vt:lpstr>
      <vt:lpstr>Goals I</vt:lpstr>
      <vt:lpstr>Goals II</vt:lpstr>
      <vt:lpstr>Six objectives</vt:lpstr>
      <vt:lpstr>Matrix/prioritization: 2×2</vt:lpstr>
      <vt:lpstr>Matrix/prioritization: 2×3</vt:lpstr>
      <vt:lpstr>Three text boxes with enumeration</vt:lpstr>
      <vt:lpstr>Four text boxes with enumeration</vt:lpstr>
      <vt:lpstr>Annotations: CAGR arrow</vt:lpstr>
      <vt:lpstr>Annotations: Multiple CAGR arrows</vt:lpstr>
      <vt:lpstr>Annotations: Total difference arrow</vt:lpstr>
      <vt:lpstr>Annotations: Multiple total difference arrows</vt:lpstr>
      <vt:lpstr>Annotations: Level difference arrow</vt:lpstr>
      <vt:lpstr>Annotations: Baseline break</vt:lpstr>
      <vt:lpstr>Annotations: Value line</vt:lpstr>
      <vt:lpstr>Time series: Stacked column</vt:lpstr>
      <vt:lpstr>Composition: Stacked 100% column</vt:lpstr>
      <vt:lpstr>Item comparison: Clustered column</vt:lpstr>
      <vt:lpstr>Time series: Combination</vt:lpstr>
      <vt:lpstr>Stacked, 100%, clustered column</vt:lpstr>
      <vt:lpstr>Item comparison: Bar I</vt:lpstr>
      <vt:lpstr>Item comparison: Bar II</vt:lpstr>
      <vt:lpstr>Structure, composition: Stacked 100% bar</vt:lpstr>
      <vt:lpstr>Item comparison: Butterfly, tornado</vt:lpstr>
      <vt:lpstr>Time series: Line</vt:lpstr>
      <vt:lpstr>Time series: Combination</vt:lpstr>
      <vt:lpstr>Time series: Area</vt:lpstr>
      <vt:lpstr>Structure, composition: Area 100%</vt:lpstr>
      <vt:lpstr>Line, area, area 100%</vt:lpstr>
      <vt:lpstr>Item comparison: Football field</vt:lpstr>
      <vt:lpstr>Time series: Box and whisker, box plot</vt:lpstr>
      <vt:lpstr>Time series: Candlestick, stock price</vt:lpstr>
      <vt:lpstr>Structure, composition: Mekko (% axis)</vt:lpstr>
      <vt:lpstr>Item comparison: Mekko (unit axis)</vt:lpstr>
      <vt:lpstr>Structure, composition: Pie</vt:lpstr>
      <vt:lpstr>Structure, composition: Doughnut</vt:lpstr>
      <vt:lpstr>Structure, composition: Bar of pie</vt:lpstr>
      <vt:lpstr>Correlation: Scatter</vt:lpstr>
      <vt:lpstr>Item comparison: Bubble</vt:lpstr>
      <vt:lpstr>Timeline: Gantt I</vt:lpstr>
      <vt:lpstr>Timeline: Gantt II</vt:lpstr>
      <vt:lpstr>Timeline: Gantt III</vt:lpstr>
      <vt:lpstr>Contribution to change: Build-down waterfall</vt:lpstr>
      <vt:lpstr>Contribution to change: Build-up waterfall</vt:lpstr>
      <vt:lpstr>Comparison: Funnel, pipeline</vt:lpstr>
      <vt:lpstr>Timeline</vt:lpstr>
      <vt:lpstr>Historical timeline</vt:lpstr>
      <vt:lpstr>Timeline with slide transitions I</vt:lpstr>
      <vt:lpstr>Timeline with slide transitions II</vt:lpstr>
      <vt:lpstr>Timeline with slide transitions III</vt:lpstr>
      <vt:lpstr>Timeline with slide transitions, horizontal I</vt:lpstr>
      <vt:lpstr>Timeline with slide transitions, horizontal II</vt:lpstr>
      <vt:lpstr>Timeline with slide transitions, horizontal III</vt:lpstr>
      <vt:lpstr>Status timeline</vt:lpstr>
      <vt:lpstr>Arched timeline</vt:lpstr>
      <vt:lpstr>Milestones I</vt:lpstr>
      <vt:lpstr>Milestones II</vt:lpstr>
      <vt:lpstr>Road map</vt:lpstr>
      <vt:lpstr>Sprint planning</vt:lpstr>
      <vt:lpstr>Monthly dashboard calendar</vt:lpstr>
      <vt:lpstr>Weekly dashboard calendar</vt:lpstr>
      <vt:lpstr>Symbols</vt:lpstr>
      <vt:lpstr>Icons</vt:lpstr>
      <vt:lpstr>Puzzle pieces</vt:lpstr>
      <vt:lpstr>Gears</vt:lpstr>
      <vt:lpstr>Newsflash</vt:lpstr>
      <vt:lpstr>Newspap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6:08:17Z</dcterms:created>
  <dcterms:modified xsi:type="dcterms:W3CDTF">2025-08-06T09:3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